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6"/>
  </p:notesMasterIdLst>
  <p:sldIdLst>
    <p:sldId id="283" r:id="rId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334DF1E-EBC9-EB6B-510B-136479E14AA3}" name="Alexandra Regan" initials="AR" userId="520e96342e219834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A89F"/>
    <a:srgbClr val="1070B8"/>
    <a:srgbClr val="666666"/>
    <a:srgbClr val="1436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0D0C16D-5080-444E-88B5-5C94DE142E0E}" v="15" dt="2025-09-23T17:18:49.9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65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zabeth Ohadi" userId="5897eeda-f271-463e-b88c-eb7854f47227" providerId="ADAL" clId="{F0D0C16D-5080-444E-88B5-5C94DE142E0E}"/>
    <pc:docChg chg="modSld">
      <pc:chgData name="Elizabeth Ohadi" userId="5897eeda-f271-463e-b88c-eb7854f47227" providerId="ADAL" clId="{F0D0C16D-5080-444E-88B5-5C94DE142E0E}" dt="2025-09-23T19:13:46.068" v="229" actId="14100"/>
      <pc:docMkLst>
        <pc:docMk/>
      </pc:docMkLst>
      <pc:sldChg chg="modSp mod">
        <pc:chgData name="Elizabeth Ohadi" userId="5897eeda-f271-463e-b88c-eb7854f47227" providerId="ADAL" clId="{F0D0C16D-5080-444E-88B5-5C94DE142E0E}" dt="2025-09-23T19:13:46.068" v="229" actId="14100"/>
        <pc:sldMkLst>
          <pc:docMk/>
          <pc:sldMk cId="471668765" sldId="283"/>
        </pc:sldMkLst>
        <pc:spChg chg="mod">
          <ac:chgData name="Elizabeth Ohadi" userId="5897eeda-f271-463e-b88c-eb7854f47227" providerId="ADAL" clId="{F0D0C16D-5080-444E-88B5-5C94DE142E0E}" dt="2025-09-23T19:12:52.430" v="211" actId="14100"/>
          <ac:spMkLst>
            <pc:docMk/>
            <pc:sldMk cId="471668765" sldId="283"/>
            <ac:spMk id="2" creationId="{89F47452-90E4-C7F9-0241-B342916167B5}"/>
          </ac:spMkLst>
        </pc:spChg>
        <pc:spChg chg="mod">
          <ac:chgData name="Elizabeth Ohadi" userId="5897eeda-f271-463e-b88c-eb7854f47227" providerId="ADAL" clId="{F0D0C16D-5080-444E-88B5-5C94DE142E0E}" dt="2025-09-23T19:13:00.456" v="213" actId="14100"/>
          <ac:spMkLst>
            <pc:docMk/>
            <pc:sldMk cId="471668765" sldId="283"/>
            <ac:spMk id="11" creationId="{8E795DCB-740F-F180-24B3-A6A5EAAADFAE}"/>
          </ac:spMkLst>
        </pc:spChg>
        <pc:graphicFrameChg chg="mod modGraphic">
          <ac:chgData name="Elizabeth Ohadi" userId="5897eeda-f271-463e-b88c-eb7854f47227" providerId="ADAL" clId="{F0D0C16D-5080-444E-88B5-5C94DE142E0E}" dt="2025-09-23T19:13:19.615" v="218" actId="1036"/>
          <ac:graphicFrameMkLst>
            <pc:docMk/>
            <pc:sldMk cId="471668765" sldId="283"/>
            <ac:graphicFrameMk id="9" creationId="{C9BDD36C-6B0D-7E9D-E2FF-6472595E72FB}"/>
          </ac:graphicFrameMkLst>
        </pc:graphicFrameChg>
        <pc:graphicFrameChg chg="mod modGraphic">
          <ac:chgData name="Elizabeth Ohadi" userId="5897eeda-f271-463e-b88c-eb7854f47227" providerId="ADAL" clId="{F0D0C16D-5080-444E-88B5-5C94DE142E0E}" dt="2025-09-23T19:13:31.949" v="220" actId="14734"/>
          <ac:graphicFrameMkLst>
            <pc:docMk/>
            <pc:sldMk cId="471668765" sldId="283"/>
            <ac:graphicFrameMk id="14" creationId="{73F29AE2-B32F-D0E9-AC5E-CD232437A2B8}"/>
          </ac:graphicFrameMkLst>
        </pc:graphicFrameChg>
        <pc:graphicFrameChg chg="mod modGraphic">
          <ac:chgData name="Elizabeth Ohadi" userId="5897eeda-f271-463e-b88c-eb7854f47227" providerId="ADAL" clId="{F0D0C16D-5080-444E-88B5-5C94DE142E0E}" dt="2025-09-23T19:13:46.068" v="229" actId="14100"/>
          <ac:graphicFrameMkLst>
            <pc:docMk/>
            <pc:sldMk cId="471668765" sldId="283"/>
            <ac:graphicFrameMk id="15" creationId="{A908EED0-952C-4F37-8CE3-BF6C654D6CE6}"/>
          </ac:graphicFrameMkLst>
        </pc:graphicFrameChg>
        <pc:graphicFrameChg chg="mod modGraphic">
          <ac:chgData name="Elizabeth Ohadi" userId="5897eeda-f271-463e-b88c-eb7854f47227" providerId="ADAL" clId="{F0D0C16D-5080-444E-88B5-5C94DE142E0E}" dt="2025-09-23T19:13:40.985" v="228" actId="14100"/>
          <ac:graphicFrameMkLst>
            <pc:docMk/>
            <pc:sldMk cId="471668765" sldId="283"/>
            <ac:graphicFrameMk id="16" creationId="{55241C14-BA57-0890-5F0F-28081FC1A87A}"/>
          </ac:graphicFrameMkLst>
        </pc:graphicFrameChg>
        <pc:picChg chg="mod">
          <ac:chgData name="Elizabeth Ohadi" userId="5897eeda-f271-463e-b88c-eb7854f47227" providerId="ADAL" clId="{F0D0C16D-5080-444E-88B5-5C94DE142E0E}" dt="2025-09-23T19:13:08.529" v="217" actId="1036"/>
          <ac:picMkLst>
            <pc:docMk/>
            <pc:sldMk cId="471668765" sldId="283"/>
            <ac:picMk id="5" creationId="{B0ED085C-0B1A-9F0C-BF30-0C7C2838347E}"/>
          </ac:picMkLst>
        </pc:picChg>
        <pc:picChg chg="mod">
          <ac:chgData name="Elizabeth Ohadi" userId="5897eeda-f271-463e-b88c-eb7854f47227" providerId="ADAL" clId="{F0D0C16D-5080-444E-88B5-5C94DE142E0E}" dt="2025-09-23T19:13:05.281" v="215" actId="1076"/>
          <ac:picMkLst>
            <pc:docMk/>
            <pc:sldMk cId="471668765" sldId="283"/>
            <ac:picMk id="12" creationId="{0C34421F-386F-5829-7A6D-523E44B66777}"/>
          </ac:picMkLst>
        </pc:picChg>
        <pc:picChg chg="mod">
          <ac:chgData name="Elizabeth Ohadi" userId="5897eeda-f271-463e-b88c-eb7854f47227" providerId="ADAL" clId="{F0D0C16D-5080-444E-88B5-5C94DE142E0E}" dt="2025-09-23T19:13:02.261" v="214" actId="1076"/>
          <ac:picMkLst>
            <pc:docMk/>
            <pc:sldMk cId="471668765" sldId="283"/>
            <ac:picMk id="13" creationId="{EDC756BE-82ED-13B5-C720-227DEC008EA6}"/>
          </ac:picMkLst>
        </pc:picChg>
        <pc:picChg chg="mod">
          <ac:chgData name="Elizabeth Ohadi" userId="5897eeda-f271-463e-b88c-eb7854f47227" providerId="ADAL" clId="{F0D0C16D-5080-444E-88B5-5C94DE142E0E}" dt="2025-09-23T17:18:49.949" v="209" actId="1036"/>
          <ac:picMkLst>
            <pc:docMk/>
            <pc:sldMk cId="471668765" sldId="283"/>
            <ac:picMk id="1030" creationId="{DA4D8558-89D3-19AC-1B18-9F638CF0ED9A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9CE733-AA74-495B-8069-C8B29890BCD3}" type="datetimeFigureOut">
              <a:rPr lang="en-US" smtClean="0"/>
              <a:t>9/2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015F8-C5B8-405F-A648-CB3C9E8B34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7745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7631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759197-19E3-48FD-8A1A-E6A71D3BD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51384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759197-19E3-48FD-8A1A-E6A71D3BD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29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786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571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29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14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14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3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43338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6BE57D-9131-4AB7-B77A-14472D4B8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39305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6BE57D-9131-4AB7-B77A-14472D4B8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29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3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105" indent="-457105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799933" indent="-342828">
              <a:buClr>
                <a:schemeClr val="accent1"/>
              </a:buClr>
              <a:buFont typeface="Wingdings" charset="2"/>
              <a:buChar char="§"/>
              <a:defRPr sz="1786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038" indent="-342828">
              <a:buClr>
                <a:schemeClr val="accent1"/>
              </a:buClr>
              <a:buFont typeface="Wingdings" charset="2"/>
              <a:buChar char="§"/>
              <a:defRPr sz="1571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142" indent="-342828">
              <a:buClr>
                <a:schemeClr val="accent1"/>
              </a:buClr>
              <a:buFont typeface="Wingdings" charset="2"/>
              <a:buChar char="§"/>
              <a:defRPr sz="1429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14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6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105" indent="-457105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799933" indent="-342828">
              <a:buClr>
                <a:srgbClr val="00A6B6"/>
              </a:buClr>
              <a:buFontTx/>
              <a:buNone/>
              <a:defRPr sz="1786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038" indent="-342828">
              <a:buClr>
                <a:srgbClr val="00A6B6"/>
              </a:buClr>
              <a:buFontTx/>
              <a:buNone/>
              <a:defRPr sz="1571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142" indent="-342828">
              <a:buClr>
                <a:srgbClr val="00A6B6"/>
              </a:buClr>
              <a:buFontTx/>
              <a:buNone/>
              <a:defRPr sz="1429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14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  <p:extLst>
      <p:ext uri="{BB962C8B-B14F-4D97-AF65-F5344CB8AC3E}">
        <p14:creationId xmlns:p14="http://schemas.microsoft.com/office/powerpoint/2010/main" val="21189480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14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9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3171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9CD11A-8958-49A4-BA8F-D12AA7D63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0017253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9CD11A-8958-49A4-BA8F-D12AA7D63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127987" tIns="63993" rIns="127987" bIns="6399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127987" tIns="63993" rIns="127987" bIns="6399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l">
              <a:defRPr sz="12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ctr">
              <a:defRPr sz="12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750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hf hdr="0" ftr="0" dt="0"/>
  <p:txStyles>
    <p:titleStyle>
      <a:lvl1pPr algn="ctr" defTabSz="914209" rtl="0" eaLnBrk="1" latinLnBrk="0" hangingPunct="1">
        <a:spcBef>
          <a:spcPct val="0"/>
        </a:spcBef>
        <a:buNone/>
        <a:defRPr sz="4429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828" indent="-342828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14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795" indent="-285691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786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2761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29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599866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6971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075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80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85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89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57105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14209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71314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9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285523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42628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199733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656837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9F47452-90E4-C7F9-0241-B342916167B5}"/>
              </a:ext>
            </a:extLst>
          </p:cNvPr>
          <p:cNvSpPr/>
          <p:nvPr/>
        </p:nvSpPr>
        <p:spPr>
          <a:xfrm>
            <a:off x="40148" y="979211"/>
            <a:ext cx="9063703" cy="5418276"/>
          </a:xfrm>
          <a:prstGeom prst="rect">
            <a:avLst/>
          </a:prstGeom>
          <a:solidFill>
            <a:srgbClr val="1070B8"/>
          </a:solidFill>
          <a:ln w="76200">
            <a:solidFill>
              <a:srgbClr val="1070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6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E395E9DD-3CA3-F045-9DCB-77E6AAFE6A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2202" y="1011"/>
            <a:ext cx="8540604" cy="95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9046" tIns="9523" rIns="19046" bIns="9523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070B8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Bolivia</a:t>
            </a: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Sustaining and Strengthening Immunization Coverage </a:t>
            </a: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in Middle-Income </a:t>
            </a:r>
            <a:r>
              <a:rPr lang="en-US" sz="1200" b="1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ountrie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313231"/>
              </a:solidFill>
              <a:effectLst/>
              <a:uLnTx/>
              <a:uFillTx/>
              <a:latin typeface="Poppins" panose="00000500000000000000" pitchFamily="2" charset="0"/>
              <a:ea typeface="ＭＳ Ｐゴシック" charset="0"/>
              <a:cs typeface="Poppins" panose="00000500000000000000" pitchFamily="2" charset="0"/>
            </a:endParaRP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Tashkent, Uzbekistan, 07-09 October 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13231"/>
              </a:solidFill>
              <a:effectLst/>
              <a:uLnTx/>
              <a:uFillTx/>
              <a:latin typeface="Poppins" panose="00000500000000000000" pitchFamily="2" charset="0"/>
              <a:ea typeface="ＭＳ Ｐゴシック" charset="0"/>
              <a:cs typeface="Poppins" panose="00000500000000000000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795DCB-740F-F180-24B3-A6A5EAAADFAE}"/>
              </a:ext>
            </a:extLst>
          </p:cNvPr>
          <p:cNvSpPr/>
          <p:nvPr/>
        </p:nvSpPr>
        <p:spPr>
          <a:xfrm>
            <a:off x="0" y="6360030"/>
            <a:ext cx="9144000" cy="5395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46" tIns="9523" rIns="19046" bIns="9523" rtlCol="0" anchor="ctr"/>
          <a:lstStyle/>
          <a:p>
            <a:pPr marL="0" marR="0" lvl="0" indent="0" algn="ctr" defTabSz="914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6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12" name="Picture 11" descr="GAVI_Alliance_Colour_Logo.jpg">
            <a:extLst>
              <a:ext uri="{FF2B5EF4-FFF2-40B4-BE49-F238E27FC236}">
                <a16:creationId xmlns:a16="http://schemas.microsoft.com/office/drawing/2014/main" id="{0C34421F-386F-5829-7A6D-523E44B6677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299" y="6397487"/>
            <a:ext cx="1142629" cy="4380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C756BE-82ED-13B5-C720-227DEC008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3810" y="6397487"/>
            <a:ext cx="1623729" cy="453134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9BDD36C-6B0D-7E9D-E2FF-6472595E72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3340254"/>
              </p:ext>
            </p:extLst>
          </p:nvPr>
        </p:nvGraphicFramePr>
        <p:xfrm>
          <a:off x="4139942" y="980991"/>
          <a:ext cx="4948541" cy="17660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8541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317078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iority drivers of persistent coverage challenges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449011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Unequal resource availability and implementation of strategies between departments, reflected in significant coverage dispariti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Insufficient human resources at all levels, with high staff turnover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Insufficient funding and lack of dedicated immunization budget at the local leve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Heightened misinformation and vaccine hesitancy during and following COVID-19 pandemic, which continues to persis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ervice disruption at healthcare units and schools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3F29AE2-B32F-D0E9-AC5E-CD232437A2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5904270"/>
              </p:ext>
            </p:extLst>
          </p:nvPr>
        </p:nvGraphicFramePr>
        <p:xfrm>
          <a:off x="4142901" y="2783546"/>
          <a:ext cx="4945582" cy="21871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5582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321963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iority needs to optimize coverage (as of 2026)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865166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Increase the prioritization of the immunization program to high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Assign dedicated funding to the immunization program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Increase dedicated immunization staff at all levels</a:t>
                      </a:r>
                    </a:p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Reduce staff turnover, particularly at higher coordinating levels</a:t>
                      </a:r>
                    </a:p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Train human resources of prioritized health networks and their establishment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Develop local micro-planning with definition of vaccination goals, defined by network diagnoses</a:t>
                      </a:r>
                    </a:p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Strengthen participatory planning processes in subnational government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Restore public confidence in vaccines</a:t>
                      </a:r>
                      <a:endParaRPr lang="en-US" sz="10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A908EED0-952C-4F37-8CE3-BF6C654D6C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4427137"/>
              </p:ext>
            </p:extLst>
          </p:nvPr>
        </p:nvGraphicFramePr>
        <p:xfrm>
          <a:off x="50345" y="4103018"/>
          <a:ext cx="4059406" cy="21871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59406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64522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pproaches implemented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822608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pt-BR" sz="1000" kern="1200" dirty="0" err="1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Comprehensive</a:t>
                      </a:r>
                      <a:r>
                        <a:rPr lang="pt-BR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TI </a:t>
                      </a:r>
                      <a:r>
                        <a:rPr lang="pt-BR" sz="1000" kern="1200" dirty="0" err="1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targeted</a:t>
                      </a:r>
                      <a:r>
                        <a:rPr lang="pt-BR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44 </a:t>
                      </a:r>
                      <a:r>
                        <a:rPr lang="pt-BR" sz="1000" kern="1200" dirty="0" err="1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health</a:t>
                      </a:r>
                      <a:r>
                        <a:rPr lang="pt-BR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networks in 56 </a:t>
                      </a:r>
                      <a:r>
                        <a:rPr lang="pt-BR" sz="1000" kern="1200" dirty="0" err="1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municipalities</a:t>
                      </a:r>
                      <a:r>
                        <a:rPr lang="pt-BR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, </a:t>
                      </a:r>
                      <a:r>
                        <a:rPr lang="pt-BR" sz="1000" kern="1200" dirty="0" err="1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supplementing</a:t>
                      </a:r>
                      <a:r>
                        <a:rPr lang="pt-BR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</a:t>
                      </a:r>
                      <a:r>
                        <a:rPr lang="pt-BR" sz="1000" kern="1200" dirty="0" err="1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program</a:t>
                      </a:r>
                      <a:r>
                        <a:rPr lang="pt-BR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</a:t>
                      </a:r>
                      <a:r>
                        <a:rPr lang="pt-BR" sz="1000" kern="1200" dirty="0" err="1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activities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Electronic Nominal Vaccination Registry has been implement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Currently in the midst of a critical measles outbreak, and control measures being implement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5241C14-BA57-0890-5F0F-28081FC1A8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9139099"/>
              </p:ext>
            </p:extLst>
          </p:nvPr>
        </p:nvGraphicFramePr>
        <p:xfrm>
          <a:off x="4139633" y="5011390"/>
          <a:ext cx="4948541" cy="12845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8541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02837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uccesses and lessons learned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981745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Population census conducted in 2024 to be incorporated into WUENIC data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Importance of political support, trained human resources, well coordinated and well funded health system.</a:t>
                      </a:r>
                      <a:endParaRPr lang="en-US" sz="10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pic>
        <p:nvPicPr>
          <p:cNvPr id="5" name="Picture 2">
            <a:extLst>
              <a:ext uri="{FF2B5EF4-FFF2-40B4-BE49-F238E27FC236}">
                <a16:creationId xmlns:a16="http://schemas.microsoft.com/office/drawing/2014/main" id="{B0ED085C-0B1A-9F0C-BF30-0C7C283834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49" y="986726"/>
            <a:ext cx="4059406" cy="305723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</p:pic>
      <p:pic>
        <p:nvPicPr>
          <p:cNvPr id="1030" name="Picture 6" descr="State flag">
            <a:extLst>
              <a:ext uri="{FF2B5EF4-FFF2-40B4-BE49-F238E27FC236}">
                <a16:creationId xmlns:a16="http://schemas.microsoft.com/office/drawing/2014/main" id="{DA4D8558-89D3-19AC-1B18-9F638CF0ED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623" y="45559"/>
            <a:ext cx="1280160" cy="84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16687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6FE10225DE664B90ECA796EE42F5B4" ma:contentTypeVersion="19" ma:contentTypeDescription="Create a new document." ma:contentTypeScope="" ma:versionID="11c98c7be4b19e814abce4ccf5389628">
  <xsd:schema xmlns:xsd="http://www.w3.org/2001/XMLSchema" xmlns:xs="http://www.w3.org/2001/XMLSchema" xmlns:p="http://schemas.microsoft.com/office/2006/metadata/properties" xmlns:ns2="bcb27da4-2e3e-416a-a040-6d0b2e3a2039" xmlns:ns3="a6b7a42b-578f-4fd1-9d67-5a3066b9c5a5" targetNamespace="http://schemas.microsoft.com/office/2006/metadata/properties" ma:root="true" ma:fieldsID="74ffbbad23b780b7928ca1a27605d123" ns2:_="" ns3:_="">
    <xsd:import namespace="bcb27da4-2e3e-416a-a040-6d0b2e3a2039"/>
    <xsd:import namespace="a6b7a42b-578f-4fd1-9d67-5a3066b9c5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SearchPropertie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b27da4-2e3e-416a-a040-6d0b2e3a20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99a65aa6-ac8d-46e4-9aa8-b40f8e8101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b7a42b-578f-4fd1-9d67-5a3066b9c5a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3851e4de-f63a-4e75-992f-a8dbd26a3671}" ma:internalName="TaxCatchAll" ma:showField="CatchAllData" ma:web="a6b7a42b-578f-4fd1-9d67-5a3066b9c5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cb27da4-2e3e-416a-a040-6d0b2e3a2039">
      <Terms xmlns="http://schemas.microsoft.com/office/infopath/2007/PartnerControls"/>
    </lcf76f155ced4ddcb4097134ff3c332f>
    <TaxCatchAll xmlns="a6b7a42b-578f-4fd1-9d67-5a3066b9c5a5" xsi:nil="true"/>
    <SharedWithUsers xmlns="a6b7a42b-578f-4fd1-9d67-5a3066b9c5a5">
      <UserInfo>
        <DisplayName>Elizabeth Ohadi</DisplayName>
        <AccountId>13</AccountId>
        <AccountType/>
      </UserInfo>
      <UserInfo>
        <DisplayName>Colleen Keating</DisplayName>
        <AccountId>372</AccountId>
        <AccountType/>
      </UserInfo>
      <UserInfo>
        <DisplayName>Christina Shaw</DisplayName>
        <AccountId>1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85D129A0-0FDD-4B0E-B270-06BBD5B9F4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11F2289-BAB9-469B-B0DE-3C1A7271F0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b27da4-2e3e-416a-a040-6d0b2e3a2039"/>
    <ds:schemaRef ds:uri="a6b7a42b-578f-4fd1-9d67-5a3066b9c5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EF60BD8-D668-47DF-AE94-9D3E1BA7162F}">
  <ds:schemaRefs>
    <ds:schemaRef ds:uri="http://schemas.microsoft.com/office/2006/documentManagement/types"/>
    <ds:schemaRef ds:uri="bcb27da4-2e3e-416a-a040-6d0b2e3a2039"/>
    <ds:schemaRef ds:uri="http://purl.org/dc/terms/"/>
    <ds:schemaRef ds:uri="http://schemas.openxmlformats.org/package/2006/metadata/core-properties"/>
    <ds:schemaRef ds:uri="http://www.w3.org/XML/1998/namespace"/>
    <ds:schemaRef ds:uri="a6b7a42b-578f-4fd1-9d67-5a3066b9c5a5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1824</TotalTime>
  <Words>229</Words>
  <Application>Microsoft Office PowerPoint</Application>
  <PresentationFormat>On-screen Show (4:3)</PresentationFormat>
  <Paragraphs>2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Museo Sans 300</vt:lpstr>
      <vt:lpstr>Museo Slab 300</vt:lpstr>
      <vt:lpstr>Poppins</vt:lpstr>
      <vt:lpstr>Wingdings</vt:lpstr>
      <vt:lpstr>R4D_StandardTemplate_MAC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na Shaw</dc:creator>
  <cp:lastModifiedBy>Elizabeth Ohadi</cp:lastModifiedBy>
  <cp:revision>65</cp:revision>
  <dcterms:created xsi:type="dcterms:W3CDTF">2024-04-05T17:45:07Z</dcterms:created>
  <dcterms:modified xsi:type="dcterms:W3CDTF">2025-09-23T19:1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6FE10225DE664B90ECA796EE42F5B4</vt:lpwstr>
  </property>
  <property fmtid="{D5CDD505-2E9C-101B-9397-08002B2CF9AE}" pid="3" name="MediaServiceImageTags">
    <vt:lpwstr/>
  </property>
</Properties>
</file>